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notesMasterIdLst>
    <p:notesMasterId r:id="rId18"/>
  </p:notesMasterIdLst>
  <p:handoutMasterIdLst>
    <p:handoutMasterId r:id="rId19"/>
  </p:handoutMasterIdLst>
  <p:sldIdLst>
    <p:sldId id="262" r:id="rId12"/>
    <p:sldId id="312" r:id="rId13"/>
    <p:sldId id="313" r:id="rId14"/>
    <p:sldId id="273" r:id="rId15"/>
    <p:sldId id="314" r:id="rId16"/>
    <p:sldId id="315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87CF9A5E-AEB7-4ADD-A643-C71EA1533362}">
          <p14:sldIdLst>
            <p14:sldId id="262"/>
            <p14:sldId id="312"/>
            <p14:sldId id="313"/>
            <p14:sldId id="273"/>
            <p14:sldId id="314"/>
            <p14:sldId id="31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328"/>
    <a:srgbClr val="000000"/>
    <a:srgbClr val="59595B"/>
    <a:srgbClr val="F0F0F0"/>
    <a:srgbClr val="939598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75" d="100"/>
          <a:sy n="75" d="100"/>
        </p:scale>
        <p:origin x="874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24/10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13285-9D40-7B41-BF45-13A5AB431659}" type="datetimeFigureOut">
              <a:rPr lang="en-NL" smtClean="0"/>
              <a:t>24/10/2025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359662-9799-BE4B-A756-7EF8B82AE8A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20789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98314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BAF68-12F5-C341-B236-F1C6AB69D62E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26291-3AAE-8641-8FD7-542AC2EDBF1D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44CB-5523-A241-AF42-CFB622FF22E7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533CA-E103-F644-AD5C-8B273A635DB8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01CF2F-46D3-CB44-B7B5-E168D3E57F0A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00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1A3DEB9-E98D-558B-D8ED-C1578500E9A3}"/>
              </a:ext>
            </a:extLst>
          </p:cNvPr>
          <p:cNvSpPr txBox="1">
            <a:spLocks/>
          </p:cNvSpPr>
          <p:nvPr userDrawn="1"/>
        </p:nvSpPr>
        <p:spPr>
          <a:xfrm>
            <a:off x="762545" y="6301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F9FB0CC8-2783-4C0F-826D-494942753165}" type="slidenum">
              <a:rPr lang="en-US" sz="900" baseline="0" smtClean="0"/>
              <a:pPr algn="l"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A90957-DC22-4C4D-9C2A-A15C649CDBE2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1001F-4DD5-294D-9F61-44E6174E3C04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00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11440-5580-8D45-B929-FEE4C1056990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8C727-6899-6B41-8AD3-1BE644010695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C7741C-82BB-B544-A52E-F12606983D0F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454B5-4D00-DF40-8B80-360AF257D902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07ABF618-620D-E98B-E99B-CFB60CC0DA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DF17F-E78D-1B44-B76A-0F72CBAB87F2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236C1-0245-9648-BE19-9666ABE4A648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EC4E-8408-B648-86E2-D966E3604D0E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214B4-68B3-1F42-9801-58DCB4676C7F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450B08-59BC-944C-B2E7-DCE33415D4A1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B485-A6F4-014B-B51E-F3CA75893519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FCE34-E544-E343-86E9-120404D95D85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D16D66-D1A9-7D45-A350-1363110E037C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064194-530B-D840-B761-DA2A10C6A694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  <a:latin typeface="+mj-lt"/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226B2-5A32-C344-9B11-A2C4D5CFD5BF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9F8F7-3785-8C44-A18E-E9B88F16535D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6B4C2-B0C0-EE46-962C-982B2D340A9A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131E11-F268-C34D-9099-2947629C5E76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4D793-3649-854C-A0EC-BF85C2C231FA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5F321-AAC2-C940-AE32-309169C67434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9668-31CB-3B4F-997C-77E8A36D4958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493E67-FEFD-E543-B2DA-698154F92D30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C943B-B094-CE4E-804C-A9B1534301A3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17BB1-E408-B74D-999C-609F527DB562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43044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DC7A2-1420-2A43-B909-423E4B7A76AB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F29090-2A61-B243-860B-4FEF98219AD3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0BEB8-0135-2F4D-9EA7-12ABC14676A2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FA011-DEA2-D140-B0D8-FDBD21078024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7F8C9-2CC1-F24C-89F9-F5026E67E4E5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53930-951B-764A-BD91-0FA3243ED549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F00B0-4857-CE48-81A7-CA99D8D99C3A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2A8C8-A4A1-3541-93A2-AD506306BA87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48B0F-E293-5544-8893-237296349A04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685D0-7EF3-994D-AF81-B89BEBEED19A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F7C872-B98C-1747-AEFC-7DFA1DB24356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F8203-736B-EA46-8E72-264EB44E6009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003D2-5658-5245-BB60-04DEA61202F1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01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A8644D-AACF-854E-B86B-C1C11D62A4BB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AD8A08-9A9C-DD4E-B589-B1C9AA853261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DBE6E-25FE-0442-B67B-0DF7EF61FD38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4D5BC-1F5E-564A-BC0E-0C6784923D72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05223-D8C1-5D47-AD7B-6149F4624A9B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730ED-499D-9040-9972-3C6AB22B99E6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217F3-FB1A-EC46-A532-1138D11C28D6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5BC589-EF5C-BA5E-6557-8CE6BCCF35B6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9A6C2F-EE91-6142-A6B5-AE8117ED49A8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0DFAC81-6249-B660-C47D-15277027A24E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F165D-A1D6-E342-B16D-10C7A2DCEE53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E931C39-EB58-DF6F-8D4B-8B07020214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92E2F4A-5DC5-D231-7844-B52C63FEA83E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F6EBF-4E0E-5C49-BF9A-E43DB3CEF554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F3721E9-6B57-2828-B976-3BDEBF6E5D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ED9CDB-64E9-36C0-4FBB-9896C8C91A28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FCB9B-FCF0-F74B-85ED-509E4AB245DC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6DC42F7-B670-0804-03D0-ED3138603DCC}"/>
              </a:ext>
            </a:extLst>
          </p:cNvPr>
          <p:cNvSpPr txBox="1">
            <a:spLocks/>
          </p:cNvSpPr>
          <p:nvPr userDrawn="1"/>
        </p:nvSpPr>
        <p:spPr>
          <a:xfrm>
            <a:off x="756000" y="5212971"/>
            <a:ext cx="543525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1800" b="0" kern="1200" cap="all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4BED85E-8D95-A24B-CF09-F37F48DEB0FA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9955-FBF8-CD43-AFD3-BF7506FC0D66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1B9C5-B3C0-0E49-855C-6756BF02EB59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226B2-5A32-C344-9B11-A2C4D5CFD5BF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741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8AF37-1B0E-AB44-A1B4-F16CAB0D3C36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0B448309-608A-DC4B-9B53-426EAEC7EC84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1E9E39F-C22C-EF84-81DB-DA22280D5C28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  <p:sldLayoutId id="2147483967" r:id="rId8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2FAA8DB1-4040-DD4A-BA69-C3EDCD542554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F774DFB-F9F6-7289-EEEA-0AFEA9CB89CA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30FB7DA-AFE0-0448-8AB3-E261C116DA4C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5ED61B-C7E8-0C3E-066A-9C20F9E78072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52EA1B12-303B-E941-AF47-C2DCB3AEAC31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A1D15C6-B384-A9F0-12A3-C38826049D4B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79E7C501-3A61-DF49-B6A7-DF64B64660A7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0DD6C5-B1CD-B990-214B-D4C86AEEFF8D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BAF6342C-D316-F048-B32A-690C6BF8E17E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5770F95-51BC-82FF-B9D0-3839F85391B0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009EAA98-450F-F74E-88C3-00840B689535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2D78459-33F6-E0D4-2E37-FF541C7BF54B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09D0257A-4021-7042-BCCC-94707B62B93B}" type="datetime1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51529D-61ED-58EC-83AF-7A50A3EBAB0E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6439" y="2495096"/>
            <a:ext cx="5520062" cy="1116000"/>
          </a:xfrm>
        </p:spPr>
        <p:txBody>
          <a:bodyPr/>
          <a:lstStyle/>
          <a:p>
            <a:r>
              <a:rPr lang="en-US" sz="4000" err="1"/>
              <a:t>FAIRification</a:t>
            </a:r>
            <a:r>
              <a:rPr lang="en-US" sz="4000"/>
              <a:t> process</a:t>
            </a:r>
            <a:br>
              <a:rPr lang="en-US" sz="4000"/>
            </a:br>
            <a:r>
              <a:rPr lang="en-US" sz="4000"/>
              <a:t>activity tracker dataset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5650" y="4652422"/>
            <a:ext cx="5435250" cy="27261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Victor Alecu &amp; Vlad Gosa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BAAC4BD8-29BA-4CD6-BEE4-D7C5597618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6905" y="552799"/>
            <a:ext cx="3564000" cy="144000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sz="1200"/>
              <a:t>FAIR Data Engineering – Group 10</a:t>
            </a: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272195B8-B62D-4A80-95D4-70616589C6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1B951B-70A9-1CC7-5DE8-9C9802571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046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F8716A-563A-93DC-C607-1E880D8D4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1B8DBAE6-E7BE-876C-BBEB-1485B01947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EC8B8A-83A1-A0CE-E37D-FBD523D09B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2545" y="1673185"/>
            <a:ext cx="4577425" cy="2776895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sz="2000"/>
              <a:t>.csv formatted synthetic fitness data.</a:t>
            </a:r>
          </a:p>
          <a:p>
            <a:pPr>
              <a:spcBef>
                <a:spcPts val="1200"/>
              </a:spcBef>
            </a:pPr>
            <a:r>
              <a:rPr lang="en-US" sz="2000"/>
              <a:t>Sourced from Kaggle (CC0 license)</a:t>
            </a:r>
          </a:p>
          <a:p>
            <a:pPr>
              <a:spcBef>
                <a:spcPts val="1200"/>
              </a:spcBef>
            </a:pPr>
            <a:r>
              <a:rPr lang="en-US" sz="2000"/>
              <a:t>12 columns (</a:t>
            </a:r>
            <a:r>
              <a:rPr lang="en-US" sz="2000" err="1"/>
              <a:t>ints</a:t>
            </a:r>
            <a:r>
              <a:rPr lang="en-US" sz="2000"/>
              <a:t>, doubles, strings, dates)</a:t>
            </a:r>
          </a:p>
          <a:p>
            <a:pPr>
              <a:spcBef>
                <a:spcPts val="1200"/>
              </a:spcBef>
            </a:pPr>
            <a:r>
              <a:rPr lang="en-US" sz="2000"/>
              <a:t>1 million rows (reduced to 10k)</a:t>
            </a:r>
          </a:p>
          <a:p>
            <a:pPr>
              <a:spcBef>
                <a:spcPts val="1200"/>
              </a:spcBef>
            </a:pPr>
            <a:r>
              <a:rPr lang="en-US" sz="2000"/>
              <a:t>Metadata on column descriptions, provenance, license, use cases</a:t>
            </a:r>
          </a:p>
          <a:p>
            <a:pPr>
              <a:spcBef>
                <a:spcPts val="1200"/>
              </a:spcBef>
            </a:pPr>
            <a:endParaRPr lang="en-US" sz="2000"/>
          </a:p>
          <a:p>
            <a:pPr>
              <a:spcBef>
                <a:spcPts val="1200"/>
              </a:spcBef>
            </a:pPr>
            <a:endParaRPr lang="en-US" sz="20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7D97C-26D8-312E-62D8-CFF6AF6461E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6500" y="1673185"/>
            <a:ext cx="4579200" cy="4404483"/>
          </a:xfrm>
        </p:spPr>
        <p:txBody>
          <a:bodyPr/>
          <a:lstStyle/>
          <a:p>
            <a:r>
              <a:rPr lang="en-US" b="1"/>
              <a:t>F1:</a:t>
            </a:r>
            <a:r>
              <a:rPr lang="en-US"/>
              <a:t> Non-persistent identifier</a:t>
            </a:r>
          </a:p>
          <a:p>
            <a:r>
              <a:rPr lang="en-US" b="1"/>
              <a:t>F2:</a:t>
            </a:r>
            <a:r>
              <a:rPr lang="en-US"/>
              <a:t> No rich metadata</a:t>
            </a:r>
          </a:p>
          <a:p>
            <a:r>
              <a:rPr lang="en-US" b="1"/>
              <a:t>F3:</a:t>
            </a:r>
            <a:r>
              <a:rPr lang="en-US"/>
              <a:t> No data identifier in metadata</a:t>
            </a:r>
          </a:p>
          <a:p>
            <a:r>
              <a:rPr lang="en-US" b="1"/>
              <a:t>A2:</a:t>
            </a:r>
            <a:r>
              <a:rPr lang="en-US"/>
              <a:t> Metadata doesn’t have longer persistency than data</a:t>
            </a:r>
          </a:p>
          <a:p>
            <a:r>
              <a:rPr lang="en-US" b="1"/>
              <a:t>I2: </a:t>
            </a:r>
            <a:r>
              <a:rPr lang="en-US"/>
              <a:t>Metadata represented in a semi-structured way</a:t>
            </a:r>
          </a:p>
          <a:p>
            <a:r>
              <a:rPr lang="en-US" b="1"/>
              <a:t>I2:</a:t>
            </a:r>
            <a:r>
              <a:rPr lang="en-US"/>
              <a:t> (Meta)data does not use vocabularies following the FAIR principles</a:t>
            </a:r>
          </a:p>
          <a:p>
            <a:r>
              <a:rPr lang="en-US" b="1"/>
              <a:t>I3:</a:t>
            </a:r>
            <a:r>
              <a:rPr lang="en-US"/>
              <a:t> (Meta)data does not include qualified references to other (meta)data. Only Kaggle recommendation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3DE8BE8-7AA8-E218-61C7-0851CAFB35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5650" y="1186324"/>
            <a:ext cx="1716495" cy="256429"/>
          </a:xfrm>
        </p:spPr>
        <p:txBody>
          <a:bodyPr/>
          <a:lstStyle/>
          <a:p>
            <a:r>
              <a:rPr lang="en-US" u="sng"/>
              <a:t>Descrip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8624C2-3CE6-5652-52A4-347975048F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545" y="241495"/>
            <a:ext cx="10201199" cy="524161"/>
          </a:xfrm>
        </p:spPr>
        <p:txBody>
          <a:bodyPr/>
          <a:lstStyle/>
          <a:p>
            <a:r>
              <a:rPr lang="en-US" dirty="0"/>
              <a:t>Fitness tracker datas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5D9188-8EBF-7FAF-3477-9F2BDDEF5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59116729-D101-74FB-B7E1-E16086E010ED}"/>
              </a:ext>
            </a:extLst>
          </p:cNvPr>
          <p:cNvSpPr txBox="1">
            <a:spLocks/>
          </p:cNvSpPr>
          <p:nvPr/>
        </p:nvSpPr>
        <p:spPr>
          <a:xfrm>
            <a:off x="6286500" y="1186325"/>
            <a:ext cx="1716495" cy="2564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2200" b="1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AIR </a:t>
            </a:r>
            <a:r>
              <a:rPr lang="en-US" u="sng"/>
              <a:t>Issues</a:t>
            </a:r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id="{65E805F6-6ACE-527C-558D-2FEEB80A3632}"/>
              </a:ext>
            </a:extLst>
          </p:cNvPr>
          <p:cNvSpPr txBox="1">
            <a:spLocks/>
          </p:cNvSpPr>
          <p:nvPr/>
        </p:nvSpPr>
        <p:spPr>
          <a:xfrm>
            <a:off x="755649" y="4270079"/>
            <a:ext cx="3221991" cy="180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2200" b="1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u="sng"/>
              <a:t>Reuse stakeholder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05FBB5A-4F1E-E817-CCC4-F0F766094E5B}"/>
              </a:ext>
            </a:extLst>
          </p:cNvPr>
          <p:cNvSpPr txBox="1">
            <a:spLocks/>
          </p:cNvSpPr>
          <p:nvPr/>
        </p:nvSpPr>
        <p:spPr>
          <a:xfrm>
            <a:off x="755649" y="4680512"/>
            <a:ext cx="4577425" cy="27768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200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200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/>
              <a:t>Researcher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/>
              <a:t>Companies (marketing departments)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/>
              <a:t>Student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/>
              <a:t>Semantic Web users</a:t>
            </a:r>
          </a:p>
        </p:txBody>
      </p:sp>
    </p:spTree>
    <p:extLst>
      <p:ext uri="{BB962C8B-B14F-4D97-AF65-F5344CB8AC3E}">
        <p14:creationId xmlns:p14="http://schemas.microsoft.com/office/powerpoint/2010/main" val="1421835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diagram of a network&#10;&#10;AI-generated content may be incorrect.">
            <a:extLst>
              <a:ext uri="{FF2B5EF4-FFF2-40B4-BE49-F238E27FC236}">
                <a16:creationId xmlns:a16="http://schemas.microsoft.com/office/drawing/2014/main" id="{3F09116A-0C49-DEEA-6510-865A85B5CF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563" y="0"/>
            <a:ext cx="9099597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5EBD29-AEB0-0C0E-4211-7EA30F0A6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5650" y="6376182"/>
            <a:ext cx="511175" cy="180000"/>
          </a:xfrm>
        </p:spPr>
        <p:txBody>
          <a:bodyPr/>
          <a:lstStyle/>
          <a:p>
            <a:pPr algn="l"/>
            <a:fld id="{F9FB0CC8-2783-4C0F-826D-494942753165}" type="slidenum">
              <a:rPr lang="en-US" smtClean="0"/>
              <a:pPr algn="l"/>
              <a:t>3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0FC939-B126-49EA-C83E-6AAE78F7AD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998" y="5055072"/>
            <a:ext cx="2589667" cy="1501110"/>
          </a:xfrm>
        </p:spPr>
        <p:txBody>
          <a:bodyPr/>
          <a:lstStyle/>
          <a:p>
            <a:r>
              <a:rPr lang="en-GB" sz="4400"/>
              <a:t>Semantic Data model</a:t>
            </a:r>
          </a:p>
        </p:txBody>
      </p:sp>
      <p:sp>
        <p:nvSpPr>
          <p:cNvPr id="10" name="Tijdelijke aanduiding voor tekst 15">
            <a:extLst>
              <a:ext uri="{FF2B5EF4-FFF2-40B4-BE49-F238E27FC236}">
                <a16:creationId xmlns:a16="http://schemas.microsoft.com/office/drawing/2014/main" id="{DD2E42F5-B8D0-C330-8146-3585D51C03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63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303A6097-A3E9-4B9F-8A82-1C98E0E20B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079A93-F2FD-4BBA-AB41-33F2A2B070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544" y="806818"/>
            <a:ext cx="4878000" cy="972000"/>
          </a:xfrm>
        </p:spPr>
        <p:txBody>
          <a:bodyPr/>
          <a:lstStyle/>
          <a:p>
            <a:r>
              <a:rPr lang="en-US"/>
              <a:t>Metadata properties beyond </a:t>
            </a:r>
            <a:r>
              <a:rPr lang="en-US" err="1"/>
              <a:t>fdp</a:t>
            </a:r>
            <a:r>
              <a:rPr lang="en-US"/>
              <a:t> schem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88396A1-9F33-6B1C-3FF4-F8A51601A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7BFBA1C-4C1A-EF0B-FDC1-609D10E46CFF}"/>
              </a:ext>
            </a:extLst>
          </p:cNvPr>
          <p:cNvSpPr txBox="1">
            <a:spLocks/>
          </p:cNvSpPr>
          <p:nvPr/>
        </p:nvSpPr>
        <p:spPr>
          <a:xfrm>
            <a:off x="755650" y="2332744"/>
            <a:ext cx="7086055" cy="371843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800" b="1"/>
              <a:t>Title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800" b="1"/>
          </a:p>
          <a:p>
            <a:pPr>
              <a:lnSpc>
                <a:spcPct val="100000"/>
              </a:lnSpc>
            </a:pPr>
            <a:r>
              <a:rPr lang="en-US" sz="2800" b="1"/>
              <a:t>Description</a:t>
            </a:r>
          </a:p>
          <a:p>
            <a:pPr lvl="1">
              <a:lnSpc>
                <a:spcPct val="100000"/>
              </a:lnSpc>
            </a:pPr>
            <a:r>
              <a:rPr lang="en-US" sz="2800" b="1">
                <a:solidFill>
                  <a:schemeClr val="bg1">
                    <a:lumMod val="50000"/>
                  </a:schemeClr>
                </a:solidFill>
              </a:rPr>
              <a:t>Plaintext – enhances human readability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800" b="1"/>
          </a:p>
          <a:p>
            <a:pPr>
              <a:lnSpc>
                <a:spcPct val="100000"/>
              </a:lnSpc>
            </a:pPr>
            <a:r>
              <a:rPr lang="en-US" sz="2800" b="1"/>
              <a:t>Source (</a:t>
            </a:r>
            <a:r>
              <a:rPr lang="en-US" sz="2800" b="1" err="1"/>
              <a:t>dct:source</a:t>
            </a:r>
            <a:r>
              <a:rPr lang="en-US" sz="2800" b="1"/>
              <a:t>)</a:t>
            </a:r>
          </a:p>
          <a:p>
            <a:pPr lvl="1">
              <a:lnSpc>
                <a:spcPct val="100000"/>
              </a:lnSpc>
            </a:pPr>
            <a:r>
              <a:rPr lang="en-US" sz="2800" b="1">
                <a:solidFill>
                  <a:schemeClr val="bg1">
                    <a:lumMod val="50000"/>
                  </a:schemeClr>
                </a:solidFill>
              </a:rPr>
              <a:t>Location from which the original dataset was obtained (in our case Kaggle) </a:t>
            </a:r>
          </a:p>
        </p:txBody>
      </p:sp>
    </p:spTree>
    <p:extLst>
      <p:ext uri="{BB962C8B-B14F-4D97-AF65-F5344CB8AC3E}">
        <p14:creationId xmlns:p14="http://schemas.microsoft.com/office/powerpoint/2010/main" val="3205387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EAC5D-5337-30E0-CC6D-046B192681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1250" y="655389"/>
            <a:ext cx="5435250" cy="556080"/>
          </a:xfrm>
        </p:spPr>
        <p:txBody>
          <a:bodyPr/>
          <a:lstStyle/>
          <a:p>
            <a:r>
              <a:rPr lang="en-GB"/>
              <a:t>Improvement in Fairnes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58BBF5-E128-EAA0-44BB-CC9422C3B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90C5F2-93F8-5170-83EF-6BD6DE9DD6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799AF76-DEC6-B174-32FC-92CB435F54C4}"/>
              </a:ext>
            </a:extLst>
          </p:cNvPr>
          <p:cNvSpPr txBox="1">
            <a:spLocks/>
          </p:cNvSpPr>
          <p:nvPr/>
        </p:nvSpPr>
        <p:spPr>
          <a:xfrm>
            <a:off x="755650" y="1668888"/>
            <a:ext cx="5523955" cy="295200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</a:pPr>
            <a:r>
              <a:rPr lang="en-US" sz="2000" b="1" dirty="0"/>
              <a:t>F1:</a:t>
            </a:r>
            <a:r>
              <a:rPr lang="en-US" sz="2000" dirty="0"/>
              <a:t> Globally unique and persistent identifier through w3id.org/</a:t>
            </a:r>
            <a:r>
              <a:rPr lang="en-US" sz="2000" dirty="0" err="1"/>
              <a:t>permaId</a:t>
            </a:r>
            <a:endParaRPr lang="en-US" sz="2000" dirty="0"/>
          </a:p>
          <a:p>
            <a:pPr>
              <a:lnSpc>
                <a:spcPct val="100000"/>
              </a:lnSpc>
              <a:spcAft>
                <a:spcPts val="1000"/>
              </a:spcAft>
            </a:pPr>
            <a:r>
              <a:rPr lang="en-US" sz="2000" b="1" dirty="0"/>
              <a:t>F2:</a:t>
            </a:r>
            <a:r>
              <a:rPr lang="en-US" sz="2000" dirty="0"/>
              <a:t> Rich metadata</a:t>
            </a:r>
          </a:p>
          <a:p>
            <a:pPr>
              <a:lnSpc>
                <a:spcPct val="100000"/>
              </a:lnSpc>
              <a:spcAft>
                <a:spcPts val="1000"/>
              </a:spcAft>
            </a:pPr>
            <a:r>
              <a:rPr lang="en-US" sz="2000" b="1" dirty="0"/>
              <a:t>F3: </a:t>
            </a:r>
            <a:r>
              <a:rPr lang="en-US" sz="2000" dirty="0"/>
              <a:t>Data identifier with clear predicate in metadata</a:t>
            </a:r>
          </a:p>
          <a:p>
            <a:pPr>
              <a:lnSpc>
                <a:spcPct val="100000"/>
              </a:lnSpc>
              <a:spcAft>
                <a:spcPts val="1000"/>
              </a:spcAft>
            </a:pPr>
            <a:r>
              <a:rPr lang="en-US" sz="2000" b="1" dirty="0"/>
              <a:t>F4:</a:t>
            </a:r>
            <a:r>
              <a:rPr lang="en-US" sz="2000" dirty="0"/>
              <a:t> Can now also be accessed through w3id.org/ </a:t>
            </a:r>
            <a:r>
              <a:rPr lang="en-US" sz="2000" dirty="0" err="1"/>
              <a:t>permaId</a:t>
            </a:r>
            <a:r>
              <a:rPr lang="en-US" sz="2000" dirty="0"/>
              <a:t> GitHub repo (not only Google)</a:t>
            </a:r>
          </a:p>
          <a:p>
            <a:pPr>
              <a:lnSpc>
                <a:spcPct val="100000"/>
              </a:lnSpc>
              <a:spcAft>
                <a:spcPts val="1000"/>
              </a:spcAft>
            </a:pPr>
            <a:r>
              <a:rPr lang="en-US" sz="2000" b="1" dirty="0"/>
              <a:t>I1:</a:t>
            </a:r>
            <a:r>
              <a:rPr lang="en-US" sz="2000" dirty="0"/>
              <a:t> (Meta)data is now </a:t>
            </a:r>
            <a:r>
              <a:rPr lang="en-US" sz="2000" dirty="0" err="1"/>
              <a:t>triplified</a:t>
            </a:r>
            <a:r>
              <a:rPr lang="en-US" sz="2000" dirty="0"/>
              <a:t>, has public schema, and uses text/turtle IANA media type</a:t>
            </a:r>
          </a:p>
          <a:p>
            <a:pPr>
              <a:lnSpc>
                <a:spcPct val="100000"/>
              </a:lnSpc>
              <a:spcAft>
                <a:spcPts val="1000"/>
              </a:spcAft>
            </a:pPr>
            <a:r>
              <a:rPr lang="en-US" sz="2000" b="1" dirty="0"/>
              <a:t>I2:</a:t>
            </a:r>
            <a:r>
              <a:rPr lang="en-US" sz="2000" dirty="0"/>
              <a:t> (Meta)data is linked to resources which follow the FAIR principles</a:t>
            </a:r>
          </a:p>
          <a:p>
            <a:pPr>
              <a:lnSpc>
                <a:spcPct val="100000"/>
              </a:lnSpc>
              <a:spcAft>
                <a:spcPts val="1000"/>
              </a:spcAft>
            </a:pPr>
            <a:r>
              <a:rPr lang="en-US" sz="2000" b="1" dirty="0"/>
              <a:t>I3:</a:t>
            </a:r>
            <a:r>
              <a:rPr lang="en-US" sz="2000" dirty="0"/>
              <a:t> (Meta)data points to qualified references of resources which follow the FAIR principles</a:t>
            </a:r>
          </a:p>
        </p:txBody>
      </p:sp>
    </p:spTree>
    <p:extLst>
      <p:ext uri="{BB962C8B-B14F-4D97-AF65-F5344CB8AC3E}">
        <p14:creationId xmlns:p14="http://schemas.microsoft.com/office/powerpoint/2010/main" val="3896744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04F67-4DE2-F2FE-B8E8-63E8E1AA3C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650" y="4762680"/>
            <a:ext cx="5435250" cy="1116000"/>
          </a:xfrm>
        </p:spPr>
        <p:txBody>
          <a:bodyPr/>
          <a:lstStyle/>
          <a:p>
            <a:r>
              <a:rPr lang="en-GB"/>
              <a:t>Thank you for your attention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56544F-830F-7B95-3E97-205654D82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3C2EDD-59A6-25B8-C1D5-451893832A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2724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CF833948FAB724D91F2896C0047D6BD" ma:contentTypeVersion="17" ma:contentTypeDescription="Een nieuw document maken." ma:contentTypeScope="" ma:versionID="eec9b68b34970c12e10496dfdcfcc4fe">
  <xsd:schema xmlns:xsd="http://www.w3.org/2001/XMLSchema" xmlns:xs="http://www.w3.org/2001/XMLSchema" xmlns:p="http://schemas.microsoft.com/office/2006/metadata/properties" xmlns:ns3="596d22dc-4082-4379-8b6f-987852c90bb0" xmlns:ns4="86e0d55e-6681-4e7f-8184-025222e8105e" targetNamespace="http://schemas.microsoft.com/office/2006/metadata/properties" ma:root="true" ma:fieldsID="fbb4ad1b371a77bfcbcd0ed2328caac1" ns3:_="" ns4:_="">
    <xsd:import namespace="596d22dc-4082-4379-8b6f-987852c90bb0"/>
    <xsd:import namespace="86e0d55e-6681-4e7f-8184-025222e8105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ObjectDetectorVersions" minOccurs="0"/>
                <xsd:element ref="ns3:MediaServiceSearchProperties" minOccurs="0"/>
                <xsd:element ref="ns3:MediaServiceDateTaken" minOccurs="0"/>
                <xsd:element ref="ns3:MediaServiceSystemTag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6d22dc-4082-4379-8b6f-987852c90b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23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e0d55e-6681-4e7f-8184-025222e8105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96d22dc-4082-4379-8b6f-987852c90bb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1D35B3-812A-49EC-8A8B-4AABC8CBCAA6}">
  <ds:schemaRefs>
    <ds:schemaRef ds:uri="596d22dc-4082-4379-8b6f-987852c90bb0"/>
    <ds:schemaRef ds:uri="86e0d55e-6681-4e7f-8184-025222e8105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596d22dc-4082-4379-8b6f-987852c90bb0"/>
    <ds:schemaRef ds:uri="http://purl.org/dc/elements/1.1/"/>
    <ds:schemaRef ds:uri="86e0d55e-6681-4e7f-8184-025222e8105e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 University of Twente - Title Slides</Template>
  <TotalTime>0</TotalTime>
  <Words>298</Words>
  <Application>Microsoft Office PowerPoint</Application>
  <PresentationFormat>Widescreen</PresentationFormat>
  <Paragraphs>48</Paragraphs>
  <Slides>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ptos</vt:lpstr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FAIRification process activity tracker dataset</vt:lpstr>
      <vt:lpstr>Fitness tracker dataset</vt:lpstr>
      <vt:lpstr>Semantic Data model</vt:lpstr>
      <vt:lpstr>Metadata properties beyond fdp schema</vt:lpstr>
      <vt:lpstr>Improvement in Fairness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ude Egberink, Tom (UT-MC)</dc:creator>
  <dc:description>Template by HQ Solutions</dc:description>
  <cp:lastModifiedBy>Alecu, V.A. (Victor, Student M-CS)</cp:lastModifiedBy>
  <cp:revision>1</cp:revision>
  <dcterms:created xsi:type="dcterms:W3CDTF">2024-12-06T12:09:31Z</dcterms:created>
  <dcterms:modified xsi:type="dcterms:W3CDTF">2025-10-24T09:3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F833948FAB724D91F2896C0047D6BD</vt:lpwstr>
  </property>
</Properties>
</file>